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15AAB"/>
    <a:srgbClr val="A1006B"/>
    <a:srgbClr val="B763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60"/>
  </p:normalViewPr>
  <p:slideViewPr>
    <p:cSldViewPr snapToGrid="0">
      <p:cViewPr>
        <p:scale>
          <a:sx n="135" d="100"/>
          <a:sy n="135" d="100"/>
        </p:scale>
        <p:origin x="23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EF4CCB-F698-66E4-3B2E-ECA27BAA9D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56AB8B2-5528-CB59-2694-6F90892C0B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FABE5F-F7C9-F923-43E1-95E1E8B43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1410557-ABFA-DD2B-D578-92D7C692E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CA6A669-F781-51ED-1004-7F6A0DEA7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6841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A5F8DF-E173-D0D6-4D9B-50B69E084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72FA967-D609-E149-1B26-2BD0FDF682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E38D266-25C0-3AA9-1195-81861C6BB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A85422F-1802-0DF3-2C49-A39DC13B1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53595C-78AE-1CB9-C86A-F6CE321E5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31068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DE9CDF7C-A55C-526D-38C2-15161C0245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58733EA-57F4-CAB6-8994-610245F685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6209AB2-831E-F35B-2EBA-EC7E06C9F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8F5E90-5E80-0BED-4BB6-5D1353F15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D8DD96F-9773-8304-3E54-37BE718F1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128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575F48-D00A-ACCC-CC8F-C0C8BA148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1D778EA-1C2D-1111-4D42-003C58FD47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CF8C861-5A19-24DA-8FF7-898DB06B1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1F5D96A-A203-8511-C40A-52AF2CE52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1735B0-F52F-9049-1F1A-5384E9D43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271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C0731D-14F3-BC54-C142-46B665A01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5B469E0-1DFB-2D5B-D4A5-D4247965AC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10078A-1E47-8A55-100B-ED8545E94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9E95ECC-3DAC-830C-697B-16EEC0290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3397019-91BA-D5B8-B037-A354B1D9F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6542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35C0033-691E-0767-440F-36D789D27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75129EE-EA07-FFC3-956B-5F915E94E8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EC6C11D-0637-A469-940E-0F9C212AC1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2A272F-EEEE-64B9-8FDE-037C0F91D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E5BADB2-68F1-C51D-44F4-B68090B6A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8B86633-39B9-9B8C-E8B6-36D75D23A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025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1A0F25-B4DA-D561-B1F5-C8DA4BDA2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A0BC76A-2FCE-D7B9-DD55-14F349FA4B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1FEA1DA-8C61-489F-6225-C7C9329C5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9E48C2-4DB0-770D-0836-B3826B5111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8F89A91-39A3-CD12-5346-FD3ED78CF8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B8CCFF5-737A-3685-ABE6-8B9E4C253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890FF12-3074-198C-4AA3-219CC9C00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F9C3269-5423-1674-2F45-61435C3B3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8776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7EF734-3139-AA03-E137-43D6690BD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2FA5474-CC42-904A-6802-93933B34E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BCE5AC-04D3-9027-DE40-BDA2FC598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7F2A26E-F9C2-FCBD-0684-5D977CF26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201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0E0AC56-528A-5D47-4189-D6B186FE4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C1D6357-E314-13F0-81FE-40973BBCF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60FAB5C-D007-7760-6DA3-EC7470724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89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C10AAE-3002-454B-CD07-4D984C37F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13FEDA1-6593-34E4-391A-824C722883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26810AB-43A3-CC5F-85E8-E7180656B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BF54EA5-B4B7-EE8B-2FBF-51E7FAC1B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72D1E3-3C60-0549-7AA8-50F025B2A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9943032-73DE-1D4B-A08D-B7BA3C4A9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080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FAEBE6-DB84-0F28-8785-A78D9907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B0DE508-8D5D-EE36-C406-38932DFD7D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215205E-3926-0AFF-4EA4-261B03E945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A4DB179-1747-0E60-5535-31845531E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7350364-A60B-42B7-A74D-2179CFE13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269D431-FE04-68DE-BD36-D43FD0316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8380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7AA872-39B7-4428-18B7-A77F3C42E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2268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395" imgH="394" progId="TCLayout.ActiveDocument.1">
                  <p:embed/>
                </p:oleObj>
              </mc:Choice>
              <mc:Fallback>
                <p:oleObj name="Diapositive think-cell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87ED4C3-EEC2-698B-4FBC-225E76B0E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011B3BE-F929-26DD-31F7-D33B1BCB71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5460E-FBC7-4910-881B-7EF27D57C372}" type="datetimeFigureOut">
              <a:rPr lang="fr-FR" smtClean="0"/>
              <a:t>24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12A967D-4337-766E-740D-2020A27643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B337225-7973-495E-1DED-BF47EC4198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8EBC00-D808-455E-9EC4-D8F2E277D1D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46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28" Type="http://schemas.openxmlformats.org/officeDocument/2006/relationships/tags" Target="../tags/tag130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18" Type="http://schemas.openxmlformats.org/officeDocument/2006/relationships/tags" Target="../tags/tag120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24" Type="http://schemas.openxmlformats.org/officeDocument/2006/relationships/tags" Target="../tags/tag126.xml"/><Relationship Id="rId129" Type="http://schemas.openxmlformats.org/officeDocument/2006/relationships/slideLayout" Target="../slideLayouts/slideLayout7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oleObject" Target="../embeddings/oleObject2.bin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image" Target="../media/image1.emf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26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200E54-E16B-00CF-5B35-567E16B3C6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586" y="792425"/>
            <a:ext cx="9144000" cy="2387600"/>
          </a:xfrm>
        </p:spPr>
        <p:txBody>
          <a:bodyPr/>
          <a:lstStyle/>
          <a:p>
            <a:r>
              <a:rPr lang="fr-FR" dirty="0">
                <a:solidFill>
                  <a:schemeClr val="accent2"/>
                </a:solidFill>
              </a:rPr>
              <a:t>Planning projet analyseur électrique 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AA10106-7139-F55C-1397-0F8E660381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4441" y="3988537"/>
            <a:ext cx="3183118" cy="413781"/>
          </a:xfrm>
        </p:spPr>
        <p:txBody>
          <a:bodyPr>
            <a:normAutofit lnSpcReduction="10000"/>
          </a:bodyPr>
          <a:lstStyle/>
          <a:p>
            <a:r>
              <a:rPr lang="fr-FR" dirty="0">
                <a:solidFill>
                  <a:srgbClr val="FF0000"/>
                </a:solidFill>
              </a:rPr>
              <a:t>Version 0 : Prévisionnel</a:t>
            </a:r>
          </a:p>
        </p:txBody>
      </p:sp>
    </p:spTree>
    <p:extLst>
      <p:ext uri="{BB962C8B-B14F-4D97-AF65-F5344CB8AC3E}">
        <p14:creationId xmlns:p14="http://schemas.microsoft.com/office/powerpoint/2010/main" val="236525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>
            <a:extLst>
              <a:ext uri="{FF2B5EF4-FFF2-40B4-BE49-F238E27FC236}">
                <a16:creationId xmlns:a16="http://schemas.microsoft.com/office/drawing/2014/main" id="{1814B80F-4219-E029-9C84-3D987648C1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5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0" imgW="395" imgH="394" progId="TCLayout.ActiveDocument.1">
                  <p:embed/>
                </p:oleObj>
              </mc:Choice>
              <mc:Fallback>
                <p:oleObj name="Diapositive think-cell" r:id="rId13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269022" y="36589"/>
            <a:ext cx="7876722" cy="16401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E10219-4697-480F-A336-45271B1F9221}" type="datetime'''''''''''''''''''''20''''2''''''4'''''">
              <a:rPr lang="fr-FR" altLang="en-US" sz="1000" b="1" smtClean="0">
                <a:effectLst/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fr-FR" sz="1000" b="1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6" name="Espace réservé du texte 2">
            <a:extLst>
              <a:ext uri="{FF2B5EF4-FFF2-40B4-BE49-F238E27FC236}">
                <a16:creationId xmlns:a16="http://schemas.microsoft.com/office/drawing/2014/main" id="{7553668D-2683-C2D0-B8C9-D31ACE722DC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70281" y="199770"/>
            <a:ext cx="2324889" cy="182922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14D432-CFF8-4448-A609-E7F2FD46DB42}" type="datetime'''T''''''1'''''''''''''''''''''''''''''''''''">
              <a:rPr lang="fr-FR" altLang="en-US" sz="1000" smtClean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/>
              <a:t>T1</a:t>
            </a:fld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1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00857" y="200607"/>
            <a:ext cx="3637719" cy="186827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28F822-6716-4C1A-9117-7AEBEF437856}" type="datetime'''''''''''''''''''''''T2'''''''''''''''''''''''">
              <a:rPr lang="fr-FR" altLang="en-US" sz="1000" smtClean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pPr/>
              <a:t>T2</a:t>
            </a:fld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4" name="Espace réservé du texte 2">
            <a:extLst>
              <a:ext uri="{FF2B5EF4-FFF2-40B4-BE49-F238E27FC236}">
                <a16:creationId xmlns:a16="http://schemas.microsoft.com/office/drawing/2014/main" id="{867A5C9B-C782-56EA-0302-9812487E213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69022" y="383067"/>
            <a:ext cx="792285" cy="168274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Février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61308" y="387829"/>
            <a:ext cx="1386086" cy="163511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effectLst/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Mars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18" name="Espace réservé du texte 2">
            <a:extLst>
              <a:ext uri="{FF2B5EF4-FFF2-40B4-BE49-F238E27FC236}">
                <a16:creationId xmlns:a16="http://schemas.microsoft.com/office/drawing/2014/main" id="{DE94F3EF-3EE4-5E83-3C66-6CB38D123E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49142" y="389043"/>
            <a:ext cx="1293095" cy="1610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Avril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sp>
        <p:nvSpPr>
          <p:cNvPr id="120" name="Espace réservé du texte 2">
            <a:extLst>
              <a:ext uri="{FF2B5EF4-FFF2-40B4-BE49-F238E27FC236}">
                <a16:creationId xmlns:a16="http://schemas.microsoft.com/office/drawing/2014/main" id="{A1F39263-C017-0383-0807-272F06B9E8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40105" y="382331"/>
            <a:ext cx="1201945" cy="161074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Mai</a:t>
            </a:r>
          </a:p>
        </p:txBody>
      </p:sp>
      <p:sp>
        <p:nvSpPr>
          <p:cNvPr id="121" name="Espace réservé du texte 2">
            <a:extLst>
              <a:ext uri="{FF2B5EF4-FFF2-40B4-BE49-F238E27FC236}">
                <a16:creationId xmlns:a16="http://schemas.microsoft.com/office/drawing/2014/main" id="{364D9652-788F-5171-0F6E-8AD16BF53D8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47707" y="383067"/>
            <a:ext cx="1290875" cy="161756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Juin</a:t>
            </a:r>
            <a:endParaRPr lang="fr-FR" sz="1000" dirty="0">
              <a:latin typeface="Avenir LT Std 65 Medium" panose="020B0803020203020204" pitchFamily="34" charset="0"/>
              <a:sym typeface="Avenir LT Std 65 Medium" panose="020B0803020203020204" pitchFamily="34" charset="0"/>
            </a:endParaRPr>
          </a:p>
        </p:txBody>
      </p:sp>
      <p:cxnSp>
        <p:nvCxnSpPr>
          <p:cNvPr id="127" name="Connecteur droit 126">
            <a:extLst>
              <a:ext uri="{FF2B5EF4-FFF2-40B4-BE49-F238E27FC236}">
                <a16:creationId xmlns:a16="http://schemas.microsoft.com/office/drawing/2014/main" id="{85C9D20E-BB4B-3C0B-8384-A13B3BE0EF8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6733631" y="531497"/>
            <a:ext cx="6474" cy="578566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Connecteur droit 109">
            <a:extLst>
              <a:ext uri="{FF2B5EF4-FFF2-40B4-BE49-F238E27FC236}">
                <a16:creationId xmlns:a16="http://schemas.microsoft.com/office/drawing/2014/main" id="{FC1116C2-BDE7-338C-19FA-5783480676F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11145778" y="115572"/>
            <a:ext cx="0" cy="643552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209A667A-64C7-816E-E29F-F2C28C6647B1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398180" y="551340"/>
            <a:ext cx="14570" cy="5765819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FDB85960-A60F-F078-7D32-57960F9C728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9237322" y="548264"/>
            <a:ext cx="0" cy="576889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D528F59A-8614-2D41-4C49-2C5BBEFDA39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3270281" y="551340"/>
            <a:ext cx="8169" cy="5765819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730B9D3B-62CD-B398-C4AD-AA1E24D9F39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5447289" y="466726"/>
            <a:ext cx="15" cy="5765819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Connecteur droit 129">
            <a:extLst>
              <a:ext uri="{FF2B5EF4-FFF2-40B4-BE49-F238E27FC236}">
                <a16:creationId xmlns:a16="http://schemas.microsoft.com/office/drawing/2014/main" id="{43949331-77E2-BED8-15C5-5863DF17933D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943125" y="541180"/>
            <a:ext cx="44550" cy="5775979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04759D7-F789-7C4D-AE4B-ACC542ABE2D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4061307" y="543404"/>
            <a:ext cx="0" cy="577375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Connecteur droit 166">
            <a:extLst>
              <a:ext uri="{FF2B5EF4-FFF2-40B4-BE49-F238E27FC236}">
                <a16:creationId xmlns:a16="http://schemas.microsoft.com/office/drawing/2014/main" id="{3B388035-7983-5596-E330-E3C0962990F7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393700" y="1142209"/>
            <a:ext cx="10752044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Connecteur droit 165">
            <a:extLst>
              <a:ext uri="{FF2B5EF4-FFF2-40B4-BE49-F238E27FC236}">
                <a16:creationId xmlns:a16="http://schemas.microsoft.com/office/drawing/2014/main" id="{460074AE-8C07-E3CE-4746-D53039C2107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412749" y="1641954"/>
            <a:ext cx="1073299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Connecteur droit 170">
            <a:extLst>
              <a:ext uri="{FF2B5EF4-FFF2-40B4-BE49-F238E27FC236}">
                <a16:creationId xmlns:a16="http://schemas.microsoft.com/office/drawing/2014/main" id="{4DAD9F92-6994-8840-7248-917AEC13F022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403225" y="5127012"/>
            <a:ext cx="10742519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Connecteur droit 169">
            <a:extLst>
              <a:ext uri="{FF2B5EF4-FFF2-40B4-BE49-F238E27FC236}">
                <a16:creationId xmlns:a16="http://schemas.microsoft.com/office/drawing/2014/main" id="{84403291-B933-7470-91AF-DC00B7B88C57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12750" y="3730466"/>
            <a:ext cx="10732994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Connecteur droit 168">
            <a:extLst>
              <a:ext uri="{FF2B5EF4-FFF2-40B4-BE49-F238E27FC236}">
                <a16:creationId xmlns:a16="http://schemas.microsoft.com/office/drawing/2014/main" id="{D4B81550-EC4B-E957-6991-2DB2A2C03362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93700" y="2242981"/>
            <a:ext cx="10752044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C7A4D132-1B42-E8E7-E2F1-F25BB7329B5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406399" y="6311824"/>
            <a:ext cx="10732995" cy="1067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9" name="Connecteur droit 328">
            <a:extLst>
              <a:ext uri="{FF2B5EF4-FFF2-40B4-BE49-F238E27FC236}">
                <a16:creationId xmlns:a16="http://schemas.microsoft.com/office/drawing/2014/main" id="{4EC53553-D136-41E2-5805-636E495476A6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6539599" y="531497"/>
            <a:ext cx="294" cy="6089037"/>
          </a:xfrm>
          <a:prstGeom prst="line">
            <a:avLst/>
          </a:prstGeom>
          <a:ln w="19050" cap="flat" cmpd="sng" algn="ctr">
            <a:solidFill>
              <a:srgbClr val="E9331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7667CCE2-012D-5877-DEE7-325A40844D4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412749" y="540230"/>
            <a:ext cx="10732995" cy="13891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8" name="Rectangle 257">
            <a:extLst>
              <a:ext uri="{FF2B5EF4-FFF2-40B4-BE49-F238E27FC236}">
                <a16:creationId xmlns:a16="http://schemas.microsoft.com/office/drawing/2014/main" id="{8A5DAC79-824E-0B2C-2CF3-1B9F8F030C0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347006" y="2370122"/>
            <a:ext cx="1207975" cy="63562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B7E39895-A4D2-4585-F8B6-79FBEFE3C99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105307" y="1227419"/>
            <a:ext cx="626128" cy="103223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9740834-A3DD-D10A-1E92-BEAA564386D1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056231" y="2944636"/>
            <a:ext cx="1406894" cy="90965"/>
          </a:xfrm>
          <a:prstGeom prst="rect">
            <a:avLst/>
          </a:prstGeom>
          <a:solidFill>
            <a:srgbClr val="B763B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F60E8C39-962A-BF43-0944-197BA0029A9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790979" y="5188938"/>
            <a:ext cx="959445" cy="98425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8" name="Losange 327">
            <a:extLst>
              <a:ext uri="{FF2B5EF4-FFF2-40B4-BE49-F238E27FC236}">
                <a16:creationId xmlns:a16="http://schemas.microsoft.com/office/drawing/2014/main" id="{817783AA-CDC1-8311-6C57-FD6D359C85A9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6482743" y="6620534"/>
            <a:ext cx="114300" cy="114300"/>
          </a:xfrm>
          <a:prstGeom prst="diamond">
            <a:avLst/>
          </a:prstGeom>
          <a:solidFill>
            <a:srgbClr val="E93316"/>
          </a:solidFill>
          <a:ln w="9525" cap="flat" cmpd="sng" algn="ctr">
            <a:solidFill>
              <a:srgbClr val="E9331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4" name="Espace réservé du texte 2">
            <a:extLst>
              <a:ext uri="{FF2B5EF4-FFF2-40B4-BE49-F238E27FC236}">
                <a16:creationId xmlns:a16="http://schemas.microsoft.com/office/drawing/2014/main" id="{8B6E16B3-9461-DE97-F79A-98811B3AB52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84187" y="2915446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buter le software avec une carte de test (Nucléo)</a:t>
            </a:r>
          </a:p>
        </p:txBody>
      </p:sp>
      <p:sp>
        <p:nvSpPr>
          <p:cNvPr id="72" name="Espace réservé du texte 2">
            <a:extLst>
              <a:ext uri="{FF2B5EF4-FFF2-40B4-BE49-F238E27FC236}">
                <a16:creationId xmlns:a16="http://schemas.microsoft.com/office/drawing/2014/main" id="{BCB394F4-6555-02CA-D485-6B4EEABC6BD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84187" y="2698276"/>
            <a:ext cx="9334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KICAD de la carte d’acquisition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0" name="Espace réservé du texte 2">
            <a:extLst>
              <a:ext uri="{FF2B5EF4-FFF2-40B4-BE49-F238E27FC236}">
                <a16:creationId xmlns:a16="http://schemas.microsoft.com/office/drawing/2014/main" id="{B6446369-64A2-7AF5-8453-9F81CD0C166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84188" y="2501426"/>
            <a:ext cx="1238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KICAD de la carte de traitement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8" name="Espace réservé du texte 2">
            <a:extLst>
              <a:ext uri="{FF2B5EF4-FFF2-40B4-BE49-F238E27FC236}">
                <a16:creationId xmlns:a16="http://schemas.microsoft.com/office/drawing/2014/main" id="{4E04DC25-27B8-A4C9-348F-7B397A675F7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84188" y="2304576"/>
            <a:ext cx="18176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hoix des composants - Nomenclature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84188" y="341791"/>
            <a:ext cx="655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F492E2-B76B-47E7-B987-2AE4B1877D53}" type="datetime'''''Ac''''''ti''''''''''''''''vi''''''''t''''''''''''''é'''">
              <a:rPr lang="fr-FR" altLang="en-US" sz="1400" b="1" smtClean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é</a:t>
            </a:fld>
            <a:endParaRPr lang="fr-FR" sz="1400" b="1" dirty="0">
              <a:latin typeface="Avenir LT Std 65 Medium" panose="020B08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08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351844" y="268966"/>
            <a:ext cx="1046650" cy="18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4A73F0B-47B7-4E2A-BD6E-9CD3FB22D9F6}" type="datetime'R''e''''s''''po''''''''''n''''''sa''b''''''''l''e'''''''''''">
              <a:rPr lang="fr-FR" altLang="en-US" sz="1200" b="1" smtClean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able</a:t>
            </a:fld>
            <a:r>
              <a:rPr lang="fr-FR" altLang="en-US" sz="1200" b="1" dirty="0">
                <a:effectLst/>
                <a:latin typeface="Avenir LT Std 65 Medium" panose="020B0803020203020204" pitchFamily="34" charset="0"/>
                <a:sym typeface="Avenir LT Std 55 Roman" panose="020B0503020203020204" pitchFamily="34" charset="0"/>
              </a:rPr>
              <a:t>s</a:t>
            </a:r>
            <a:endParaRPr lang="fr-FR" sz="1200" b="1" dirty="0">
              <a:latin typeface="Avenir LT Std 65 Medium" panose="020B08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6" name="Espace réservé du texte 2">
            <a:extLst>
              <a:ext uri="{FF2B5EF4-FFF2-40B4-BE49-F238E27FC236}">
                <a16:creationId xmlns:a16="http://schemas.microsoft.com/office/drawing/2014/main" id="{C216283F-FB32-7C3E-E515-EB4EFF82623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84187" y="2056926"/>
            <a:ext cx="1811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3 (bas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84188" y="1880714"/>
            <a:ext cx="98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2 (moyen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84188" y="792324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alidation du projet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8" name="Espace réservé du texte 2">
            <a:extLst>
              <a:ext uri="{FF2B5EF4-FFF2-40B4-BE49-F238E27FC236}">
                <a16:creationId xmlns:a16="http://schemas.microsoft.com/office/drawing/2014/main" id="{6589643A-DB27-31F3-8CFD-A63C2C84115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04508" y="3768386"/>
            <a:ext cx="10382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ception des composant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76" name="Espace réservé du texte 2">
            <a:extLst>
              <a:ext uri="{FF2B5EF4-FFF2-40B4-BE49-F238E27FC236}">
                <a16:creationId xmlns:a16="http://schemas.microsoft.com/office/drawing/2014/main" id="{3086D391-35A6-F99D-B1B8-4517CD29DDD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84538" y="3335528"/>
            <a:ext cx="11382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mande des composants (PCB avec GERBER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80" name="Espace réservé du texte 2">
            <a:extLst>
              <a:ext uri="{FF2B5EF4-FFF2-40B4-BE49-F238E27FC236}">
                <a16:creationId xmlns:a16="http://schemas.microsoft.com/office/drawing/2014/main" id="{89B2A66C-7AC5-291D-463C-3696ECF458F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04508" y="3965236"/>
            <a:ext cx="16938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Soudures des composants sur PC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84188" y="1683864"/>
            <a:ext cx="10144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alisation du schéma de niveau 1 (haut niveau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83453" y="1446374"/>
            <a:ext cx="400889" cy="10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cahier des charges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326" name="Espace réservé du texte 2">
            <a:extLst>
              <a:ext uri="{FF2B5EF4-FFF2-40B4-BE49-F238E27FC236}">
                <a16:creationId xmlns:a16="http://schemas.microsoft.com/office/drawing/2014/main" id="{33876404-90A5-ECC3-0A53-ED0FAA820F7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329629" y="59579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330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719234" y="6602715"/>
            <a:ext cx="701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4/04/2024</a:t>
            </a:r>
          </a:p>
        </p:txBody>
      </p:sp>
      <p:sp>
        <p:nvSpPr>
          <p:cNvPr id="280" name="Espace réservé du texte 2">
            <a:extLst>
              <a:ext uri="{FF2B5EF4-FFF2-40B4-BE49-F238E27FC236}">
                <a16:creationId xmlns:a16="http://schemas.microsoft.com/office/drawing/2014/main" id="{ACAD9411-5B39-9AB9-01BD-4A00C98EF30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099431" y="822804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2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84188" y="595791"/>
            <a:ext cx="11223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hoix du projet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3D12FD54-CB13-B513-B33E-F26AC58C368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84180" y="3523033"/>
            <a:ext cx="15779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mande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e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composant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(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hor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PCB)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14BA5981-1A84-5CB9-CE75-5A7EF978C90C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auto">
          <a:xfrm>
            <a:off x="418154" y="2823567"/>
            <a:ext cx="1072759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DBF1C179-A408-43D1-506C-77715C0EBB5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94347" y="4173514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1 (Tension)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1A2AB9F7-FFC4-312A-F894-BDAB29878FD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83889" y="4376080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2 (Courants)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0720B152-8EDC-A523-7152-3466A0D1423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74028" y="4742863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4 (Harmoniques)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5B4608C0-FA5D-122C-B28F-5C0D8E4D8F7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93385" y="975522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900" dirty="0">
                <a:effectLst/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Initialisation du GITHU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B0BADC2-0225-8EF2-C999-E2C044C03FD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76644" y="1229683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planning prévisionnel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C5FF5441-CADE-7077-3D34-01D4C5A3BEE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64302" y="5225250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8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Tests hardwares, tests softwares et validation du projet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D57747C8-2975-6F62-0469-D3EA9A80880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72958" y="5714130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retour d’expérience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6788D31C-4E31-1D27-0F2C-9A56760A014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71084" y="5510525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Rédaction du planning définitif</a:t>
            </a: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5BE920D7-827D-A4C4-0A83-8128386D1F9C}"/>
              </a:ext>
            </a:extLst>
          </p:cNvPr>
          <p:cNvCxnSpPr>
            <a:cxnSpLocks/>
          </p:cNvCxnSpPr>
          <p:nvPr>
            <p:custDataLst>
              <p:tags r:id="rId59"/>
            </p:custDataLst>
          </p:nvPr>
        </p:nvCxnSpPr>
        <p:spPr bwMode="auto">
          <a:xfrm>
            <a:off x="403859" y="3083800"/>
            <a:ext cx="1074188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Espace réservé du texte 2">
            <a:extLst>
              <a:ext uri="{FF2B5EF4-FFF2-40B4-BE49-F238E27FC236}">
                <a16:creationId xmlns:a16="http://schemas.microsoft.com/office/drawing/2014/main" id="{E9FF8282-E456-CE43-CF40-88E0A3E5CC19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329629" y="799308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51" name="Espace réservé du texte 2">
            <a:extLst>
              <a:ext uri="{FF2B5EF4-FFF2-40B4-BE49-F238E27FC236}">
                <a16:creationId xmlns:a16="http://schemas.microsoft.com/office/drawing/2014/main" id="{B9615C5A-59B1-6DCC-6F9D-6353B4C1117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316084" y="140970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53" name="Espace réservé du texte 2">
            <a:extLst>
              <a:ext uri="{FF2B5EF4-FFF2-40B4-BE49-F238E27FC236}">
                <a16:creationId xmlns:a16="http://schemas.microsoft.com/office/drawing/2014/main" id="{D328CF3E-802E-0D83-77BA-800F15C386E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328867" y="973496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54" name="Triangle isocèle 219">
            <a:extLst>
              <a:ext uri="{FF2B5EF4-FFF2-40B4-BE49-F238E27FC236}">
                <a16:creationId xmlns:a16="http://schemas.microsoft.com/office/drawing/2014/main" id="{3A34FE40-86B7-86D5-7BB3-25549DF2614D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3783397" y="570392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space réservé du texte 2">
            <a:extLst>
              <a:ext uri="{FF2B5EF4-FFF2-40B4-BE49-F238E27FC236}">
                <a16:creationId xmlns:a16="http://schemas.microsoft.com/office/drawing/2014/main" id="{512E710F-159B-AF74-F38C-26699498E92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683601" y="703375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6/02/2024</a:t>
            </a:r>
          </a:p>
        </p:txBody>
      </p:sp>
      <p:sp>
        <p:nvSpPr>
          <p:cNvPr id="62" name="Triangle isocèle 219">
            <a:extLst>
              <a:ext uri="{FF2B5EF4-FFF2-40B4-BE49-F238E27FC236}">
                <a16:creationId xmlns:a16="http://schemas.microsoft.com/office/drawing/2014/main" id="{EE7F4663-4B0E-CD38-F1C3-266DF7C80A70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3775566" y="888010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space réservé du texte 2">
            <a:extLst>
              <a:ext uri="{FF2B5EF4-FFF2-40B4-BE49-F238E27FC236}">
                <a16:creationId xmlns:a16="http://schemas.microsoft.com/office/drawing/2014/main" id="{DD067398-7832-352F-ADF8-D8C4A79D1E5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663801" y="1028984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6/02/2024</a:t>
            </a:r>
          </a:p>
        </p:txBody>
      </p:sp>
      <p:sp>
        <p:nvSpPr>
          <p:cNvPr id="64" name="Triangle isocèle 219">
            <a:extLst>
              <a:ext uri="{FF2B5EF4-FFF2-40B4-BE49-F238E27FC236}">
                <a16:creationId xmlns:a16="http://schemas.microsoft.com/office/drawing/2014/main" id="{9CE0737E-D451-DEAD-5979-81F40329CF41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3927961" y="781054"/>
            <a:ext cx="114300" cy="1143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5" name="Espace réservé du texte 2">
            <a:extLst>
              <a:ext uri="{FF2B5EF4-FFF2-40B4-BE49-F238E27FC236}">
                <a16:creationId xmlns:a16="http://schemas.microsoft.com/office/drawing/2014/main" id="{9F82A05A-649B-C163-0F95-845F1D4F2BC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889866" y="915861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1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8/02/2024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4B67FE8-1F41-7C89-6B3A-F625AB0974F7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109164" y="1435628"/>
            <a:ext cx="626128" cy="103223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9" name="Triangle isocèle 219">
            <a:extLst>
              <a:ext uri="{FF2B5EF4-FFF2-40B4-BE49-F238E27FC236}">
                <a16:creationId xmlns:a16="http://schemas.microsoft.com/office/drawing/2014/main" id="{355EE7DA-2B42-D360-25B3-5525A85945F6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4662660" y="1693612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1" name="Triangle isocèle 219">
            <a:extLst>
              <a:ext uri="{FF2B5EF4-FFF2-40B4-BE49-F238E27FC236}">
                <a16:creationId xmlns:a16="http://schemas.microsoft.com/office/drawing/2014/main" id="{AB718524-B705-6688-2DB9-77991E24983B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5059366" y="1846012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3" name="Triangle isocèle 219">
            <a:extLst>
              <a:ext uri="{FF2B5EF4-FFF2-40B4-BE49-F238E27FC236}">
                <a16:creationId xmlns:a16="http://schemas.microsoft.com/office/drawing/2014/main" id="{443DD4CC-FE5F-E25E-551D-D478B0F89046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5232707" y="2043170"/>
            <a:ext cx="114300" cy="1143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1" name="Espace réservé du texte 2">
            <a:extLst>
              <a:ext uri="{FF2B5EF4-FFF2-40B4-BE49-F238E27FC236}">
                <a16:creationId xmlns:a16="http://schemas.microsoft.com/office/drawing/2014/main" id="{92515301-232F-7A26-20DA-24D57B940790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82728" y="4566918"/>
            <a:ext cx="2385739" cy="141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3 (Puissance)</a:t>
            </a:r>
          </a:p>
        </p:txBody>
      </p:sp>
      <p:cxnSp>
        <p:nvCxnSpPr>
          <p:cNvPr id="100" name="Connecteur droit 99">
            <a:extLst>
              <a:ext uri="{FF2B5EF4-FFF2-40B4-BE49-F238E27FC236}">
                <a16:creationId xmlns:a16="http://schemas.microsoft.com/office/drawing/2014/main" id="{5D30AEE4-A606-3690-F2B4-709D92B8ADD1}"/>
              </a:ext>
            </a:extLst>
          </p:cNvPr>
          <p:cNvCxnSpPr>
            <a:cxnSpLocks/>
          </p:cNvCxnSpPr>
          <p:nvPr/>
        </p:nvCxnSpPr>
        <p:spPr>
          <a:xfrm>
            <a:off x="5289857" y="2171663"/>
            <a:ext cx="0" cy="191154"/>
          </a:xfrm>
          <a:prstGeom prst="line">
            <a:avLst/>
          </a:prstGeom>
          <a:ln w="1905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6" name="Espace réservé du texte 2">
            <a:extLst>
              <a:ext uri="{FF2B5EF4-FFF2-40B4-BE49-F238E27FC236}">
                <a16:creationId xmlns:a16="http://schemas.microsoft.com/office/drawing/2014/main" id="{7F128813-1B8B-29CB-A433-B55934CB9528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04121" y="3128284"/>
            <a:ext cx="15779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alidation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de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la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1ère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version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</a:t>
            </a:r>
            <a:r>
              <a:rPr lang="pt-BR" altLang="en-US" sz="9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es</a:t>
            </a:r>
            <a:r>
              <a:rPr lang="pt-BR" altLang="en-US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PCB</a:t>
            </a:r>
            <a:endParaRPr lang="fr-FR" sz="9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07" name="Espace réservé du texte 2">
            <a:extLst>
              <a:ext uri="{FF2B5EF4-FFF2-40B4-BE49-F238E27FC236}">
                <a16:creationId xmlns:a16="http://schemas.microsoft.com/office/drawing/2014/main" id="{19E1BB06-A7F6-38DE-BF13-AF13FF5FFB89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468491" y="5912885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nalisation du GITHUB</a:t>
            </a:r>
          </a:p>
        </p:txBody>
      </p:sp>
      <p:sp>
        <p:nvSpPr>
          <p:cNvPr id="113" name="Espace réservé du texte 2">
            <a:extLst>
              <a:ext uri="{FF2B5EF4-FFF2-40B4-BE49-F238E27FC236}">
                <a16:creationId xmlns:a16="http://schemas.microsoft.com/office/drawing/2014/main" id="{89035DE5-C988-0582-4958-F9180F38E530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61347" y="6119059"/>
            <a:ext cx="15827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résentation orale</a:t>
            </a:r>
          </a:p>
        </p:txBody>
      </p:sp>
      <p:cxnSp>
        <p:nvCxnSpPr>
          <p:cNvPr id="141" name="Connecteur droit 140">
            <a:extLst>
              <a:ext uri="{FF2B5EF4-FFF2-40B4-BE49-F238E27FC236}">
                <a16:creationId xmlns:a16="http://schemas.microsoft.com/office/drawing/2014/main" id="{D8FBC397-1A61-F7DC-02DF-7C8670EE7438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 bwMode="auto">
          <a:xfrm flipV="1">
            <a:off x="393700" y="5419114"/>
            <a:ext cx="10742553" cy="1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8B306A9-25F3-4F4A-83DD-B724AC950909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5690657" y="2516548"/>
            <a:ext cx="1268413" cy="7380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DA29FC4-5A64-E1CD-B75A-9B93AABA8D2C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5355305" y="2721339"/>
            <a:ext cx="1603759" cy="6733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0" name="Triangle isocèle 219">
            <a:extLst>
              <a:ext uri="{FF2B5EF4-FFF2-40B4-BE49-F238E27FC236}">
                <a16:creationId xmlns:a16="http://schemas.microsoft.com/office/drawing/2014/main" id="{1DC04A74-D1DC-E1FB-AD80-0A3DE2B96E41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6761730" y="3105884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2" name="Espace réservé du texte 2">
            <a:extLst>
              <a:ext uri="{FF2B5EF4-FFF2-40B4-BE49-F238E27FC236}">
                <a16:creationId xmlns:a16="http://schemas.microsoft.com/office/drawing/2014/main" id="{A1D7FAE1-691A-9D6A-39DD-D6931765BEA2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554155" y="1827900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5/03/2024</a:t>
            </a:r>
          </a:p>
        </p:txBody>
      </p:sp>
      <p:sp>
        <p:nvSpPr>
          <p:cNvPr id="156" name="Espace réservé du texte 2">
            <a:extLst>
              <a:ext uri="{FF2B5EF4-FFF2-40B4-BE49-F238E27FC236}">
                <a16:creationId xmlns:a16="http://schemas.microsoft.com/office/drawing/2014/main" id="{9337CD69-A4B5-F5A4-A2D6-910BBFFB2834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4951579" y="1987657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2/03/2024</a:t>
            </a:r>
          </a:p>
        </p:txBody>
      </p:sp>
      <p:sp>
        <p:nvSpPr>
          <p:cNvPr id="160" name="Espace réservé du texte 2">
            <a:extLst>
              <a:ext uri="{FF2B5EF4-FFF2-40B4-BE49-F238E27FC236}">
                <a16:creationId xmlns:a16="http://schemas.microsoft.com/office/drawing/2014/main" id="{B967A10F-3231-7664-270A-26A4CBBC7E08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091191" y="2165633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FFC00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28/03/2024</a:t>
            </a:r>
          </a:p>
        </p:txBody>
      </p:sp>
      <p:sp>
        <p:nvSpPr>
          <p:cNvPr id="161" name="Espace réservé du texte 2">
            <a:extLst>
              <a:ext uri="{FF2B5EF4-FFF2-40B4-BE49-F238E27FC236}">
                <a16:creationId xmlns:a16="http://schemas.microsoft.com/office/drawing/2014/main" id="{C74CB83D-5AB5-986D-4AE0-60492D7D873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6676437" y="3236916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02/05/2024</a:t>
            </a:r>
          </a:p>
        </p:txBody>
      </p:sp>
      <p:sp>
        <p:nvSpPr>
          <p:cNvPr id="163" name="Triangle isocèle 219">
            <a:extLst>
              <a:ext uri="{FF2B5EF4-FFF2-40B4-BE49-F238E27FC236}">
                <a16:creationId xmlns:a16="http://schemas.microsoft.com/office/drawing/2014/main" id="{A0800C3F-F917-A5B1-92AD-006DBE214A5D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6914130" y="3283860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4" name="Espace réservé du texte 2">
            <a:extLst>
              <a:ext uri="{FF2B5EF4-FFF2-40B4-BE49-F238E27FC236}">
                <a16:creationId xmlns:a16="http://schemas.microsoft.com/office/drawing/2014/main" id="{DBFD5CD1-91B2-BF44-7F54-3DEA90C835B4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828837" y="3408498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7/05/2024</a:t>
            </a:r>
          </a:p>
        </p:txBody>
      </p:sp>
      <p:sp>
        <p:nvSpPr>
          <p:cNvPr id="165" name="Triangle isocèle 219">
            <a:extLst>
              <a:ext uri="{FF2B5EF4-FFF2-40B4-BE49-F238E27FC236}">
                <a16:creationId xmlns:a16="http://schemas.microsoft.com/office/drawing/2014/main" id="{FCF728B7-2C42-100B-77B4-BE63C2F44574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6918744" y="3492966"/>
            <a:ext cx="114300" cy="114300"/>
          </a:xfrm>
          <a:prstGeom prst="triangle">
            <a:avLst/>
          </a:prstGeom>
          <a:solidFill>
            <a:srgbClr val="A1006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8" name="Espace réservé du texte 2">
            <a:extLst>
              <a:ext uri="{FF2B5EF4-FFF2-40B4-BE49-F238E27FC236}">
                <a16:creationId xmlns:a16="http://schemas.microsoft.com/office/drawing/2014/main" id="{8E6CD5ED-5EBD-0271-F07D-19AD7F34478B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6833451" y="3617604"/>
            <a:ext cx="488721" cy="13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A1006B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7/05/202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F329298-13E9-0C4F-0734-BE72F01B604E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9365646" y="3132565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12C53376-84EA-8297-9D14-A2242575CF97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9366169" y="3347957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D966A3D8-295C-BC73-FA22-9666C317D87C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9379286" y="356382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70CC9CEC-5445-60D4-2003-9A03A17DC16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9326441" y="1695267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FB41D8B7-0D98-8698-9A8A-F2FF62E68B7D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9326441" y="1881700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5A0C1EFB-3246-338F-7D31-492CFDC00BEF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9335314" y="2068128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40" name="Triangle isocèle 219">
            <a:extLst>
              <a:ext uri="{FF2B5EF4-FFF2-40B4-BE49-F238E27FC236}">
                <a16:creationId xmlns:a16="http://schemas.microsoft.com/office/drawing/2014/main" id="{71DB7B2F-CA36-7930-45C4-E31A42ABBABD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7796413" y="3741462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1F26A763-6292-E6A8-5EFA-08CC329F213D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7676807" y="3871093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31/05/2024</a:t>
            </a:r>
          </a:p>
        </p:txBody>
      </p:sp>
      <p:sp>
        <p:nvSpPr>
          <p:cNvPr id="42" name="Triangle isocèle 219">
            <a:extLst>
              <a:ext uri="{FF2B5EF4-FFF2-40B4-BE49-F238E27FC236}">
                <a16:creationId xmlns:a16="http://schemas.microsoft.com/office/drawing/2014/main" id="{8938336A-868B-93AF-718B-CC496B14777A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7803810" y="3911712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Triangle isocèle 219">
            <a:extLst>
              <a:ext uri="{FF2B5EF4-FFF2-40B4-BE49-F238E27FC236}">
                <a16:creationId xmlns:a16="http://schemas.microsoft.com/office/drawing/2014/main" id="{64D848B9-AF4C-E56D-83D1-40FD40934B6A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8065674" y="4059214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52B94E71-F2E2-93FB-7FA7-0B3B402B4871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7967654" y="4199504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06/06/2024</a:t>
            </a:r>
          </a:p>
        </p:txBody>
      </p:sp>
      <p:sp>
        <p:nvSpPr>
          <p:cNvPr id="46" name="Triangle isocèle 219">
            <a:extLst>
              <a:ext uri="{FF2B5EF4-FFF2-40B4-BE49-F238E27FC236}">
                <a16:creationId xmlns:a16="http://schemas.microsoft.com/office/drawing/2014/main" id="{ACBA5E05-48F0-4468-8DEF-C6D467B399AF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8270471" y="4241623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Espace réservé du texte 2">
            <a:extLst>
              <a:ext uri="{FF2B5EF4-FFF2-40B4-BE49-F238E27FC236}">
                <a16:creationId xmlns:a16="http://schemas.microsoft.com/office/drawing/2014/main" id="{70606BF9-9A87-6F6E-7041-B30C8C20A8DA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194492" y="4381853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07/06/2024</a:t>
            </a:r>
          </a:p>
        </p:txBody>
      </p:sp>
      <p:sp>
        <p:nvSpPr>
          <p:cNvPr id="48" name="Triangle isocèle 219">
            <a:extLst>
              <a:ext uri="{FF2B5EF4-FFF2-40B4-BE49-F238E27FC236}">
                <a16:creationId xmlns:a16="http://schemas.microsoft.com/office/drawing/2014/main" id="{B9FC95BB-1184-D1F1-25A9-5583053F5FCD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8271478" y="4472743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space réservé du texte 2">
            <a:extLst>
              <a:ext uri="{FF2B5EF4-FFF2-40B4-BE49-F238E27FC236}">
                <a16:creationId xmlns:a16="http://schemas.microsoft.com/office/drawing/2014/main" id="{A451C93C-8D0D-7264-9651-DEF07F6785AA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189852" y="4610902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07/06/2024</a:t>
            </a:r>
          </a:p>
        </p:txBody>
      </p:sp>
      <p:sp>
        <p:nvSpPr>
          <p:cNvPr id="75" name="Triangle isocèle 219">
            <a:extLst>
              <a:ext uri="{FF2B5EF4-FFF2-40B4-BE49-F238E27FC236}">
                <a16:creationId xmlns:a16="http://schemas.microsoft.com/office/drawing/2014/main" id="{AA09F47C-CDD4-CDAE-D2C4-8B61F613D445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8481283" y="4698102"/>
            <a:ext cx="114300" cy="114300"/>
          </a:xfrm>
          <a:prstGeom prst="triangle">
            <a:avLst/>
          </a:prstGeom>
          <a:solidFill>
            <a:srgbClr val="815AA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7" name="Espace réservé du texte 2">
            <a:extLst>
              <a:ext uri="{FF2B5EF4-FFF2-40B4-BE49-F238E27FC236}">
                <a16:creationId xmlns:a16="http://schemas.microsoft.com/office/drawing/2014/main" id="{2E40D499-B39B-883B-4B4C-CC0DCD100160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8372688" y="4829451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2/06/2024</a:t>
            </a:r>
          </a:p>
        </p:txBody>
      </p:sp>
      <p:sp>
        <p:nvSpPr>
          <p:cNvPr id="79" name="Espace réservé du texte 2">
            <a:extLst>
              <a:ext uri="{FF2B5EF4-FFF2-40B4-BE49-F238E27FC236}">
                <a16:creationId xmlns:a16="http://schemas.microsoft.com/office/drawing/2014/main" id="{399772E8-D42C-B393-C567-A3837AB3D8C9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7694736" y="4023493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rgbClr val="7030A0"/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31/05/2024</a:t>
            </a:r>
          </a:p>
        </p:txBody>
      </p:sp>
      <p:sp>
        <p:nvSpPr>
          <p:cNvPr id="82" name="Espace réservé du texte 2">
            <a:extLst>
              <a:ext uri="{FF2B5EF4-FFF2-40B4-BE49-F238E27FC236}">
                <a16:creationId xmlns:a16="http://schemas.microsoft.com/office/drawing/2014/main" id="{8915D6DA-72A6-9750-631B-AEA23B12FD0A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474028" y="4940275"/>
            <a:ext cx="2065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9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Développement software phase 5 (Ecran OLED)</a:t>
            </a:r>
          </a:p>
        </p:txBody>
      </p:sp>
      <p:sp>
        <p:nvSpPr>
          <p:cNvPr id="83" name="Espace réservé du texte 2">
            <a:extLst>
              <a:ext uri="{FF2B5EF4-FFF2-40B4-BE49-F238E27FC236}">
                <a16:creationId xmlns:a16="http://schemas.microsoft.com/office/drawing/2014/main" id="{62023D3B-D89A-9201-4B12-3B5C176B2CFC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9358420" y="2690670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Hicham/Anas</a:t>
            </a:r>
          </a:p>
        </p:txBody>
      </p:sp>
      <p:sp>
        <p:nvSpPr>
          <p:cNvPr id="84" name="Espace réservé du texte 2">
            <a:extLst>
              <a:ext uri="{FF2B5EF4-FFF2-40B4-BE49-F238E27FC236}">
                <a16:creationId xmlns:a16="http://schemas.microsoft.com/office/drawing/2014/main" id="{BD80BB2B-78AD-6990-7DC8-93EE09DF0BFB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9340172" y="2477392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Julien</a:t>
            </a:r>
          </a:p>
        </p:txBody>
      </p:sp>
      <p:sp>
        <p:nvSpPr>
          <p:cNvPr id="86" name="Espace réservé du texte 2">
            <a:extLst>
              <a:ext uri="{FF2B5EF4-FFF2-40B4-BE49-F238E27FC236}">
                <a16:creationId xmlns:a16="http://schemas.microsoft.com/office/drawing/2014/main" id="{A679F777-4B23-98A9-E7F0-64C1348F36D7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9336607" y="2287511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87" name="Espace réservé du texte 2">
            <a:extLst>
              <a:ext uri="{FF2B5EF4-FFF2-40B4-BE49-F238E27FC236}">
                <a16:creationId xmlns:a16="http://schemas.microsoft.com/office/drawing/2014/main" id="{501C89C3-1600-6CBE-EE98-84D586745EF9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9350321" y="2882376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Julien</a:t>
            </a:r>
          </a:p>
        </p:txBody>
      </p:sp>
      <p:sp>
        <p:nvSpPr>
          <p:cNvPr id="89" name="Espace réservé du texte 2">
            <a:extLst>
              <a:ext uri="{FF2B5EF4-FFF2-40B4-BE49-F238E27FC236}">
                <a16:creationId xmlns:a16="http://schemas.microsoft.com/office/drawing/2014/main" id="{603C21CB-ED45-6C6C-2430-B375052A965D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9366935" y="3951928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0" name="Espace réservé du texte 2">
            <a:extLst>
              <a:ext uri="{FF2B5EF4-FFF2-40B4-BE49-F238E27FC236}">
                <a16:creationId xmlns:a16="http://schemas.microsoft.com/office/drawing/2014/main" id="{E9A89A87-FE73-2BAD-F788-9FAE1208A016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9380005" y="3762575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Fiack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 et Mr </a:t>
            </a: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Papazoglou</a:t>
            </a:r>
            <a:endParaRPr lang="fr-FR" sz="1000" dirty="0">
              <a:latin typeface="Avenir LT Std 55 Roman" panose="020B0503020203020204" pitchFamily="34" charset="0"/>
              <a:sym typeface="Avenir LT Std 55 Roman" panose="020B0503020203020204" pitchFamily="34" charset="0"/>
            </a:endParaRPr>
          </a:p>
        </p:txBody>
      </p:sp>
      <p:sp>
        <p:nvSpPr>
          <p:cNvPr id="91" name="Espace réservé du texte 2">
            <a:extLst>
              <a:ext uri="{FF2B5EF4-FFF2-40B4-BE49-F238E27FC236}">
                <a16:creationId xmlns:a16="http://schemas.microsoft.com/office/drawing/2014/main" id="{9AE016E9-AF40-4C03-CE30-ABBE06B3BBC2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9365645" y="4155319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2" name="Espace réservé du texte 2">
            <a:extLst>
              <a:ext uri="{FF2B5EF4-FFF2-40B4-BE49-F238E27FC236}">
                <a16:creationId xmlns:a16="http://schemas.microsoft.com/office/drawing/2014/main" id="{90CA8E83-5CA9-1EBB-DCFA-DD01CB6189A8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9367435" y="4385993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3" name="Espace réservé du texte 2">
            <a:extLst>
              <a:ext uri="{FF2B5EF4-FFF2-40B4-BE49-F238E27FC236}">
                <a16:creationId xmlns:a16="http://schemas.microsoft.com/office/drawing/2014/main" id="{47AC3EC7-E1FE-459C-AB04-3450EF58833E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9368699" y="4604392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4" name="Espace réservé du texte 2">
            <a:extLst>
              <a:ext uri="{FF2B5EF4-FFF2-40B4-BE49-F238E27FC236}">
                <a16:creationId xmlns:a16="http://schemas.microsoft.com/office/drawing/2014/main" id="{5A26C41B-A233-A711-99F5-C0920134657B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9365645" y="4856349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5" name="Espace réservé du texte 2">
            <a:extLst>
              <a:ext uri="{FF2B5EF4-FFF2-40B4-BE49-F238E27FC236}">
                <a16:creationId xmlns:a16="http://schemas.microsoft.com/office/drawing/2014/main" id="{68EBB708-1F6E-AC4D-0E6F-224F473392F9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9313659" y="1204530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96" name="Triangle isocèle 219">
            <a:extLst>
              <a:ext uri="{FF2B5EF4-FFF2-40B4-BE49-F238E27FC236}">
                <a16:creationId xmlns:a16="http://schemas.microsoft.com/office/drawing/2014/main" id="{E7092B3E-65DF-E34B-0417-72F2E286F6EC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8838583" y="6083224"/>
            <a:ext cx="114300" cy="114300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7" name="Espace réservé du texte 2">
            <a:extLst>
              <a:ext uri="{FF2B5EF4-FFF2-40B4-BE49-F238E27FC236}">
                <a16:creationId xmlns:a16="http://schemas.microsoft.com/office/drawing/2014/main" id="{C5A78287-F593-318F-B0CA-8A16C7A56DD6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8704084" y="6234288"/>
            <a:ext cx="377736" cy="74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500" b="1" dirty="0">
                <a:solidFill>
                  <a:schemeClr val="accent2">
                    <a:lumMod val="75000"/>
                  </a:schemeClr>
                </a:solidFill>
                <a:latin typeface="Avenir LT Std 65 Medium" panose="020B0803020203020204" pitchFamily="34" charset="0"/>
                <a:sym typeface="Avenir LT Std 65 Medium" panose="020B0803020203020204" pitchFamily="34" charset="0"/>
              </a:rPr>
              <a:t>14/06/2024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D74DEA5-0A47-BB78-0E18-734BD4D3E600}"/>
              </a:ext>
            </a:extLst>
          </p:cNvPr>
          <p:cNvSpPr/>
          <p:nvPr>
            <p:custDataLst>
              <p:tags r:id="rId121"/>
            </p:custDataLst>
          </p:nvPr>
        </p:nvSpPr>
        <p:spPr bwMode="auto">
          <a:xfrm>
            <a:off x="7839944" y="5932970"/>
            <a:ext cx="1087156" cy="8515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0DADE5F7-52AC-774F-2FB7-67A35CE6B444}"/>
              </a:ext>
            </a:extLst>
          </p:cNvPr>
          <p:cNvSpPr/>
          <p:nvPr>
            <p:custDataLst>
              <p:tags r:id="rId122"/>
            </p:custDataLst>
          </p:nvPr>
        </p:nvSpPr>
        <p:spPr bwMode="auto">
          <a:xfrm>
            <a:off x="8345389" y="5489876"/>
            <a:ext cx="550199" cy="11061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8522EB2-FDA2-EF71-7D93-BD05BD1E9B3E}"/>
              </a:ext>
            </a:extLst>
          </p:cNvPr>
          <p:cNvSpPr/>
          <p:nvPr>
            <p:custDataLst>
              <p:tags r:id="rId123"/>
            </p:custDataLst>
          </p:nvPr>
        </p:nvSpPr>
        <p:spPr bwMode="auto">
          <a:xfrm>
            <a:off x="8341269" y="5696280"/>
            <a:ext cx="550199" cy="11061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2" name="Espace réservé du texte 2">
            <a:extLst>
              <a:ext uri="{FF2B5EF4-FFF2-40B4-BE49-F238E27FC236}">
                <a16:creationId xmlns:a16="http://schemas.microsoft.com/office/drawing/2014/main" id="{B89DC00C-41B4-B00B-EB82-75BF7FD8CB62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9375214" y="5199725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122" name="Espace réservé du texte 2">
            <a:extLst>
              <a:ext uri="{FF2B5EF4-FFF2-40B4-BE49-F238E27FC236}">
                <a16:creationId xmlns:a16="http://schemas.microsoft.com/office/drawing/2014/main" id="{34A3A00B-2889-D984-DD0E-078747884045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9349814" y="5491825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123" name="Espace réservé du texte 2">
            <a:extLst>
              <a:ext uri="{FF2B5EF4-FFF2-40B4-BE49-F238E27FC236}">
                <a16:creationId xmlns:a16="http://schemas.microsoft.com/office/drawing/2014/main" id="{2F76AEA3-40A9-C4E9-18AD-AB10B2A4B027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9359800" y="5688992"/>
            <a:ext cx="360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124" name="Espace réservé du texte 2">
            <a:extLst>
              <a:ext uri="{FF2B5EF4-FFF2-40B4-BE49-F238E27FC236}">
                <a16:creationId xmlns:a16="http://schemas.microsoft.com/office/drawing/2014/main" id="{0E5CA1CA-773D-47E4-2F7A-BD919798ADAB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9376386" y="5900641"/>
            <a:ext cx="360363" cy="121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sp>
        <p:nvSpPr>
          <p:cNvPr id="125" name="Espace réservé du texte 2">
            <a:extLst>
              <a:ext uri="{FF2B5EF4-FFF2-40B4-BE49-F238E27FC236}">
                <a16:creationId xmlns:a16="http://schemas.microsoft.com/office/drawing/2014/main" id="{39EFBE0F-CEA7-770E-4CBD-4EA786231297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9375214" y="6134439"/>
            <a:ext cx="360363" cy="121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dirty="0" err="1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Jingwen</a:t>
            </a:r>
            <a:r>
              <a:rPr lang="fr-FR" sz="1000" dirty="0">
                <a:latin typeface="Avenir LT Std 55 Roman" panose="020B0503020203020204" pitchFamily="34" charset="0"/>
                <a:sym typeface="Avenir LT Std 55 Roman" panose="020B0503020203020204" pitchFamily="34" charset="0"/>
              </a:rPr>
              <a:t>/Hicham/Julien/Anas</a:t>
            </a:r>
          </a:p>
        </p:txBody>
      </p:sp>
      <p:cxnSp>
        <p:nvCxnSpPr>
          <p:cNvPr id="126" name="Connecteur droit 125">
            <a:extLst>
              <a:ext uri="{FF2B5EF4-FFF2-40B4-BE49-F238E27FC236}">
                <a16:creationId xmlns:a16="http://schemas.microsoft.com/office/drawing/2014/main" id="{23F97267-0D5D-4CB4-A87C-D5C51CD93C0D}"/>
              </a:ext>
            </a:extLst>
          </p:cNvPr>
          <p:cNvCxnSpPr>
            <a:cxnSpLocks/>
          </p:cNvCxnSpPr>
          <p:nvPr/>
        </p:nvCxnSpPr>
        <p:spPr>
          <a:xfrm>
            <a:off x="6959064" y="2801278"/>
            <a:ext cx="0" cy="191154"/>
          </a:xfrm>
          <a:prstGeom prst="line">
            <a:avLst/>
          </a:prstGeom>
          <a:ln w="19050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005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T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5.21703100000000041803E+00&quot;&gt;&lt;m_msothmcolidx val=&quot;0&quot;/&gt;&lt;m_rgb r=&quot;CD&quot; g=&quot;00&quot; b=&quot;37&quot;/&gt;&lt;/elem&gt;&lt;elem m_fUsage=&quot;7.36098929100000076708E-01&quot;&gt;&lt;m_msothmcolidx val=&quot;0&quot;/&gt;&lt;m_rgb r=&quot;B7&quot; g=&quot;63&quot; b=&quot;BB&quot;/&gt;&lt;/elem&gt;&lt;elem m_fUsage=&quot;4.78296900000000135833E-01&quot;&gt;&lt;m_msothmcolidx val=&quot;0&quot;/&gt;&lt;m_rgb r=&quot;E1&quot; g=&quot;A3&quot; b=&quot;D8&quot;/&gt;&lt;/elem&gt;&lt;elem m_fUsage=&quot;4.30467210000000155556E-01&quot;&gt;&lt;m_msothmcolidx val=&quot;0&quot;/&gt;&lt;m_rgb r=&quot;81&quot; g=&quot;5A&quot; b=&quot;AB&quot;/&gt;&lt;/elem&gt;&lt;elem m_fUsage=&quot;3.13810596090000171188E-01&quot;&gt;&lt;m_msothmcolidx val=&quot;0&quot;/&gt;&lt;m_rgb r=&quot;A1&quot; g=&quot;00&quot; b=&quot;6B&quot;/&gt;&lt;/elem&gt;&lt;elem m_fUsage=&quot;2.82429536481000165171E-01&quot;&gt;&lt;m_msothmcolidx val=&quot;0&quot;/&gt;&lt;m_rgb r=&quot;E9&quot; g=&quot;33&quot; b=&quot;16&quot;/&gt;&lt;/elem&gt;&lt;elem m_fUsage=&quot;2.54186582832900132001E-01&quot;&gt;&lt;m_msothmcolidx val=&quot;0&quot;/&gt;&lt;m_rgb r=&quot;D4&quot; g=&quot;9B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Aw6iQLhFyxYNyYkRVeU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dmoy2sqFt_gO.ndlFl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mm4Shc1pjztnQGVBu.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mwLtgeqJcwY8C0J7W8W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qqgKRMvg.1Cexc13Ta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mxp_gMgmt4PtV7ACV0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JfLmd276HWisgE4fnk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LsJ1ToL3A10InYn0A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aRVA44WbSo6nfDtJnk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Cv8YbsBwONHJ_.fuq_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E0zhxMXkRPrMN94fx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N21D_PiP.I4LY_7xFZ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9e43IcPrNwXFMtH531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IRqSeYGZE2bBAKibd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i6Pyid9EbnVp6tuAwC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Eip5cZZpjCZkdBNZZN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dzqJJzHzetUy.wjxL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ECDcYj2wtqzcTdVVs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oQa1a1DFXmIacOb89h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qo8GtU8gURu0GAyAPw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JD8TngnUU4T8j8.QS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9D4K.UWCbuU32sGOEP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o9i9K2AxAmgQoUOQSt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5kfV7FoELmxAR2NfXw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uZZ_3RBGvIOEvvNg5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.deRGsJlPdPvBGW47w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bYZKBUny8ztqwIhDL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EBcDAAbfZqClIqwKC7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ZeYTwu06rb69IJZAeq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SLxDDviEGNkuSlLEHn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Ey7RDr6geBmtvZ1MN9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9S2n6v89EFGt_VoXmd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WcUJKZTrRadybVmzYa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lwK5E3LAagBksrvhp.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id8sosaRvlfSCn22F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KNA.F9B9OtWCnMPOH1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Hy.xEmGggByK7qY_b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Sik4sUsWw0rOZNX2P45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FcVmn73neXMqfBNprK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CTohyby6kvqd9GJdX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bb5Q4nVTqldm9.C2.l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ECDcYj2wtqzcTdVVs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HgtbmWjJ.5FEWcY2P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Sik4sUsWw0rOZNX2P4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EkamDYRaVqgQg1YcO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9e43IcPrNwXFMtH531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swq5aBDMJt8Ib64C43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wCnE0Fr__oCMIhIsD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BXIb0TMjQgwlyBzBR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_qb49W7d4Qjhuhd_ZI5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nzvYpb8xUUXo2zwXXaK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My5.HKP1A.bRPl9ctz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</TotalTime>
  <Words>358</Words>
  <Application>Microsoft Macintosh PowerPoint</Application>
  <PresentationFormat>Grand écran</PresentationFormat>
  <Paragraphs>82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Arial</vt:lpstr>
      <vt:lpstr>Avenir LT Std 55 Roman</vt:lpstr>
      <vt:lpstr>Avenir LT Std 65 Medium</vt:lpstr>
      <vt:lpstr>Calibri</vt:lpstr>
      <vt:lpstr>Calibri Light</vt:lpstr>
      <vt:lpstr>Thème Office</vt:lpstr>
      <vt:lpstr>Diapositive think-cell</vt:lpstr>
      <vt:lpstr>Planning projet analyseur électrique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LOT CELINE (SNCF RESEAU)</dc:creator>
  <cp:lastModifiedBy>SAINT LEGER Julien (SNCF RESEAU / Directions Techniques Réseau / DGOP DTU Services TC)</cp:lastModifiedBy>
  <cp:revision>8</cp:revision>
  <dcterms:created xsi:type="dcterms:W3CDTF">2024-04-03T13:39:43Z</dcterms:created>
  <dcterms:modified xsi:type="dcterms:W3CDTF">2024-04-24T12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21ee20b-2db6-434b-a656-4500d2063055_Enabled">
    <vt:lpwstr>true</vt:lpwstr>
  </property>
  <property fmtid="{D5CDD505-2E9C-101B-9397-08002B2CF9AE}" pid="3" name="MSIP_Label_021ee20b-2db6-434b-a656-4500d2063055_SetDate">
    <vt:lpwstr>2024-04-22T14:35:16Z</vt:lpwstr>
  </property>
  <property fmtid="{D5CDD505-2E9C-101B-9397-08002B2CF9AE}" pid="4" name="MSIP_Label_021ee20b-2db6-434b-a656-4500d2063055_Method">
    <vt:lpwstr>Privileged</vt:lpwstr>
  </property>
  <property fmtid="{D5CDD505-2E9C-101B-9397-08002B2CF9AE}" pid="5" name="MSIP_Label_021ee20b-2db6-434b-a656-4500d2063055_Name">
    <vt:lpwstr>Sans Marquage - Groupe et Réseau</vt:lpwstr>
  </property>
  <property fmtid="{D5CDD505-2E9C-101B-9397-08002B2CF9AE}" pid="6" name="MSIP_Label_021ee20b-2db6-434b-a656-4500d2063055_SiteId">
    <vt:lpwstr>4a7c8238-5799-4b16-9fc6-9ad8fce5a7d9</vt:lpwstr>
  </property>
  <property fmtid="{D5CDD505-2E9C-101B-9397-08002B2CF9AE}" pid="7" name="MSIP_Label_021ee20b-2db6-434b-a656-4500d2063055_ActionId">
    <vt:lpwstr>6c109522-cb8a-47dd-acf7-2978593eadce</vt:lpwstr>
  </property>
  <property fmtid="{D5CDD505-2E9C-101B-9397-08002B2CF9AE}" pid="8" name="MSIP_Label_021ee20b-2db6-434b-a656-4500d2063055_ContentBits">
    <vt:lpwstr>0</vt:lpwstr>
  </property>
</Properties>
</file>